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4" r:id="rId3"/>
    <p:sldId id="257" r:id="rId4"/>
    <p:sldId id="261" r:id="rId5"/>
    <p:sldId id="262" r:id="rId6"/>
    <p:sldId id="263" r:id="rId7"/>
    <p:sldId id="259" r:id="rId8"/>
    <p:sldId id="260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de Song" initials="WS" lastIdx="1" clrIdx="0">
    <p:extLst>
      <p:ext uri="{19B8F6BF-5375-455C-9EA6-DF929625EA0E}">
        <p15:presenceInfo xmlns:p15="http://schemas.microsoft.com/office/powerpoint/2012/main" userId="8584450944a88d4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5" d="100"/>
          <a:sy n="85" d="100"/>
        </p:scale>
        <p:origin x="59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F13620-A8AB-4EB7-9433-EF4BB41D18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679025-4044-43E0-ABDD-5CB4814009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C6E90A-DCB6-41F0-8DF9-79C65BF267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ECD68C-DFD4-4636-8297-A0B78AC9A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40F379-A84B-4206-840A-8A44AD511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0853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F659EC-8157-4BFC-A627-C1B9E0287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EB19C5-64EB-465C-BD90-56DBF9D726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6E3AAF-E623-474E-AE94-78AC2CB64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F16D34-F8A6-4A6C-AB6C-D3CE8EA3EF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D8A6B0-34B4-4304-9053-A6A40F422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3356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2267D6E-560C-428F-B2E6-95E2C92E93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DAF6977-5181-4FA9-ACBF-71FDF5D4D5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E96E87-9E4A-47F3-BBEC-E85D3564FB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D94D82-EE2E-49C7-BF29-1D07A7A1A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9CB79-0CB7-4EE8-A5D1-063A28A30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706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03566-D53F-472A-B371-15C713517D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8B64EF-2A20-4431-A17E-F492CE29D0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228566-F9E4-40AD-8395-A36F4A703F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DBF3C4-05BB-4388-91C9-606A991BBE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1E763C-A284-4DE2-ACE1-7E3A93793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555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A00EEE-1A2E-4438-8CE5-6720E7BF4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7CD4E9-DECB-4E05-A10F-4C57DB7100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BD9811-8915-409A-936B-DB948FA001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2A0A74-7C9E-4458-ACFD-FA877B5BA1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60BF05-3966-4B2F-934A-5EA24BFD2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7540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FD4B44-FE8C-4D9A-A885-A54D09625F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963B6F-749E-4A1B-A398-B5DA345069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0B2E41-15BF-4EE6-BE50-E95F2BD9F5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6DFFED-93AB-4977-AED4-40C8F2DE8A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8F27DC-B029-453E-9985-AEA11B1A37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EF2FB2-33FB-4C5C-9E12-104003C57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828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9FFB6C-EB22-46CC-837F-98EF75870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BA3071-1B20-49CF-9BBA-8029FDA407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818A0B-345F-4DF0-87D9-096A8B637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9D8DCEA-546E-451D-A91A-675E2745B12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B2D836-1CFC-414F-A7C5-839E48F85B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7D2E3B-9142-4CCF-9016-CE251243E0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C84E39-C846-4FA3-9071-E77CE9655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C27993-D1C8-48D4-86CA-3D151602B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0732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5E1B1-CDF9-43A4-91D3-F1C03464F3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4ACF5E-1851-4DCA-A481-A448DA2BF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43A0C4-E4EB-43D4-B73E-6769C3B52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F05CE7-F62C-4CA6-AA7B-EA1C2E4D4B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205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5781E41-B030-4E2F-9795-10FC0248AD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5412F4-D0A0-4DFE-B1DA-794CDF8531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A5036-E0AC-4E47-975E-3BEA982D1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7047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B86676-C0B3-4383-846A-9B246FF26B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F3C6A1-0E8E-4FCD-A33C-B7132183D5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04E0B4-D34A-49BF-8352-90756EA073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128079-4BFD-4CD0-B6FB-1F756D5500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68A627-386A-4A07-92D4-002287FF1D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A2F8B3-BCFF-42A5-ACFF-26935A7C3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6435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0DC7EA-4D9F-4BEE-B9DE-19905FA546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0E8CEC1-1BB1-4FDC-B338-353C27421E8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E47313-84EA-41F4-B514-ECA1C35E30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99DFA5-490C-4B6D-9E0A-AB9FCCE96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B7E111-2ABA-4CC3-8D09-305F8D861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84DE14-8E9B-4D2A-A11B-32D3DBFD1B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335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1FAE9A7-2707-4E29-A52A-F788EEDDB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D6D7B-12A1-4967-B906-3A0BB462EA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FDA40D-8F0F-46F7-8F8E-BEF2E5C36C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6EAEBE-D73E-42DB-BEEC-0E1D1642DD0E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660C38-364E-403F-A83D-3E1808DF06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AA6B90-9D77-4AF2-8200-D6CFD0A7EF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FCA564-4347-41F5-8847-C2B797C18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578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D959F47-F202-43CD-B3B6-6704BA88824D}"/>
              </a:ext>
            </a:extLst>
          </p:cNvPr>
          <p:cNvSpPr/>
          <p:nvPr/>
        </p:nvSpPr>
        <p:spPr>
          <a:xfrm>
            <a:off x="3971366" y="1255058"/>
            <a:ext cx="3424516" cy="40610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ctr"/>
            <a:r>
              <a:rPr lang="en-US" dirty="0"/>
              <a:t>DWH</a:t>
            </a:r>
          </a:p>
        </p:txBody>
      </p:sp>
      <p:sp>
        <p:nvSpPr>
          <p:cNvPr id="7" name="Arrow: Up 6">
            <a:extLst>
              <a:ext uri="{FF2B5EF4-FFF2-40B4-BE49-F238E27FC236}">
                <a16:creationId xmlns:a16="http://schemas.microsoft.com/office/drawing/2014/main" id="{51E0E785-BAD1-4289-91E6-825C872DC9F1}"/>
              </a:ext>
            </a:extLst>
          </p:cNvPr>
          <p:cNvSpPr/>
          <p:nvPr/>
        </p:nvSpPr>
        <p:spPr>
          <a:xfrm>
            <a:off x="4818529" y="313765"/>
            <a:ext cx="1604682" cy="6131858"/>
          </a:xfrm>
          <a:prstGeom prst="up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lowchart: Magnetic Disk 1">
            <a:extLst>
              <a:ext uri="{FF2B5EF4-FFF2-40B4-BE49-F238E27FC236}">
                <a16:creationId xmlns:a16="http://schemas.microsoft.com/office/drawing/2014/main" id="{4AE1817F-F1E1-4DD7-ADEF-397A5374836B}"/>
              </a:ext>
            </a:extLst>
          </p:cNvPr>
          <p:cNvSpPr/>
          <p:nvPr/>
        </p:nvSpPr>
        <p:spPr>
          <a:xfrm>
            <a:off x="4580964" y="1524000"/>
            <a:ext cx="2079812" cy="869577"/>
          </a:xfrm>
          <a:prstGeom prst="flowChartMagneticDisk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rt</a:t>
            </a:r>
          </a:p>
        </p:txBody>
      </p:sp>
      <p:sp>
        <p:nvSpPr>
          <p:cNvPr id="3" name="Flowchart: Magnetic Disk 2">
            <a:extLst>
              <a:ext uri="{FF2B5EF4-FFF2-40B4-BE49-F238E27FC236}">
                <a16:creationId xmlns:a16="http://schemas.microsoft.com/office/drawing/2014/main" id="{4AC1B8D9-384F-4115-AE4C-3744FEAC8389}"/>
              </a:ext>
            </a:extLst>
          </p:cNvPr>
          <p:cNvSpPr/>
          <p:nvPr/>
        </p:nvSpPr>
        <p:spPr>
          <a:xfrm>
            <a:off x="4580964" y="2814918"/>
            <a:ext cx="2079812" cy="869577"/>
          </a:xfrm>
          <a:prstGeom prst="flowChartMagneticDisk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re</a:t>
            </a: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6EC357EB-9480-4F09-B584-D0AC3BEB966E}"/>
              </a:ext>
            </a:extLst>
          </p:cNvPr>
          <p:cNvSpPr/>
          <p:nvPr/>
        </p:nvSpPr>
        <p:spPr>
          <a:xfrm>
            <a:off x="4580964" y="4074460"/>
            <a:ext cx="2079812" cy="869577"/>
          </a:xfrm>
          <a:prstGeom prst="flowChartMagneticDisk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ag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8751CD-07CD-45EF-8694-051006473B69}"/>
              </a:ext>
            </a:extLst>
          </p:cNvPr>
          <p:cNvSpPr/>
          <p:nvPr/>
        </p:nvSpPr>
        <p:spPr>
          <a:xfrm>
            <a:off x="3971365" y="412377"/>
            <a:ext cx="3424517" cy="60063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port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B11234C-D9F8-436F-86C4-B6626A8B5145}"/>
              </a:ext>
            </a:extLst>
          </p:cNvPr>
          <p:cNvSpPr/>
          <p:nvPr/>
        </p:nvSpPr>
        <p:spPr>
          <a:xfrm>
            <a:off x="3971365" y="5567083"/>
            <a:ext cx="3424517" cy="600635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323E8C-1D16-480C-A897-D2DA6A8FBBE9}"/>
              </a:ext>
            </a:extLst>
          </p:cNvPr>
          <p:cNvSpPr txBox="1"/>
          <p:nvPr/>
        </p:nvSpPr>
        <p:spPr>
          <a:xfrm>
            <a:off x="7592343" y="6445623"/>
            <a:ext cx="41024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https://github.com/microsoftbi/PSA-Generato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3A85AA4-3546-4188-B79F-C10DFC423859}"/>
              </a:ext>
            </a:extLst>
          </p:cNvPr>
          <p:cNvSpPr/>
          <p:nvPr/>
        </p:nvSpPr>
        <p:spPr>
          <a:xfrm>
            <a:off x="3193137" y="1255058"/>
            <a:ext cx="582708" cy="406101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ctr"/>
            <a:r>
              <a:rPr lang="en-US" dirty="0"/>
              <a:t>META</a:t>
            </a:r>
          </a:p>
        </p:txBody>
      </p:sp>
    </p:spTree>
    <p:extLst>
      <p:ext uri="{BB962C8B-B14F-4D97-AF65-F5344CB8AC3E}">
        <p14:creationId xmlns:p14="http://schemas.microsoft.com/office/powerpoint/2010/main" val="16991056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Insert only DWH.</a:t>
            </a:r>
          </a:p>
          <a:p>
            <a:pPr lvl="1"/>
            <a:r>
              <a:rPr lang="en-US" dirty="0"/>
              <a:t>Time stamp: LOAD_DTS</a:t>
            </a:r>
          </a:p>
          <a:p>
            <a:pPr lvl="1"/>
            <a:r>
              <a:rPr lang="en-US" dirty="0"/>
              <a:t>Updated data from source, insert new one directly.</a:t>
            </a:r>
          </a:p>
          <a:p>
            <a:pPr lvl="1"/>
            <a:r>
              <a:rPr lang="en-US" dirty="0"/>
              <a:t>Indicator will be added, I for insert, U for update and D for delete.</a:t>
            </a:r>
          </a:p>
          <a:p>
            <a:pPr lvl="1"/>
            <a:r>
              <a:rPr lang="en-US" dirty="0"/>
              <a:t>Calculate period information by LOAD_DTS.</a:t>
            </a:r>
          </a:p>
          <a:p>
            <a:r>
              <a:rPr lang="en-US" dirty="0"/>
              <a:t>Updateable DWH.(Merge)</a:t>
            </a:r>
          </a:p>
          <a:p>
            <a:pPr lvl="1"/>
            <a:r>
              <a:rPr lang="en-US" dirty="0"/>
              <a:t>Time stamp: LOAD_DTS, LOAD_END_DTS, IS_CURRENT</a:t>
            </a:r>
          </a:p>
          <a:p>
            <a:pPr lvl="1"/>
            <a:r>
              <a:rPr lang="en-US" dirty="0"/>
              <a:t>Updated data from source, insert new one, then </a:t>
            </a:r>
            <a:r>
              <a:rPr lang="en-US" dirty="0">
                <a:solidFill>
                  <a:srgbClr val="FF0000"/>
                </a:solidFill>
              </a:rPr>
              <a:t>update old record LOAD_END_DTS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For performance purpose, IS_CURRENT in </a:t>
            </a:r>
            <a:r>
              <a:rPr lang="en-US" dirty="0">
                <a:solidFill>
                  <a:srgbClr val="FF0000"/>
                </a:solidFill>
              </a:rPr>
              <a:t>old record will also set to 0</a:t>
            </a:r>
            <a:r>
              <a:rPr lang="en-US" dirty="0"/>
              <a:t>, then new record set to 1.</a:t>
            </a:r>
          </a:p>
          <a:p>
            <a:pPr lvl="1"/>
            <a:r>
              <a:rPr lang="en-US" dirty="0"/>
              <a:t>Get period information directly.</a:t>
            </a:r>
          </a:p>
        </p:txBody>
      </p:sp>
    </p:spTree>
    <p:extLst>
      <p:ext uri="{BB962C8B-B14F-4D97-AF65-F5344CB8AC3E}">
        <p14:creationId xmlns:p14="http://schemas.microsoft.com/office/powerpoint/2010/main" val="29053602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936F03C-C5E7-4D93-8D47-1ABCA1B98C08}"/>
              </a:ext>
            </a:extLst>
          </p:cNvPr>
          <p:cNvSpPr/>
          <p:nvPr/>
        </p:nvSpPr>
        <p:spPr>
          <a:xfrm>
            <a:off x="163034" y="1066065"/>
            <a:ext cx="11760025" cy="271462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600" dirty="0"/>
              <a:t>PSA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0F1358D-31EA-4F29-8D91-56EBDB2AD214}"/>
              </a:ext>
            </a:extLst>
          </p:cNvPr>
          <p:cNvSpPr/>
          <p:nvPr/>
        </p:nvSpPr>
        <p:spPr>
          <a:xfrm>
            <a:off x="350376" y="2043953"/>
            <a:ext cx="2017059" cy="5827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Landing zon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97B4958-E920-4E36-B8B4-8C4560EFC34A}"/>
              </a:ext>
            </a:extLst>
          </p:cNvPr>
          <p:cNvSpPr/>
          <p:nvPr/>
        </p:nvSpPr>
        <p:spPr>
          <a:xfrm>
            <a:off x="4957482" y="2043953"/>
            <a:ext cx="2017059" cy="5827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Stag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1E71002-B5B7-44BD-AE2A-3E5C85A058FD}"/>
              </a:ext>
            </a:extLst>
          </p:cNvPr>
          <p:cNvSpPr/>
          <p:nvPr/>
        </p:nvSpPr>
        <p:spPr>
          <a:xfrm>
            <a:off x="9564588" y="2043953"/>
            <a:ext cx="2017059" cy="5827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Historic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E96B3C8-3C3D-4F01-A0EF-EC20B16CAABB}"/>
              </a:ext>
            </a:extLst>
          </p:cNvPr>
          <p:cNvSpPr txBox="1"/>
          <p:nvPr/>
        </p:nvSpPr>
        <p:spPr>
          <a:xfrm>
            <a:off x="350376" y="3044252"/>
            <a:ext cx="17218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1 to 1 from source tabl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BFA36B-4CC7-4FA3-9116-71E0C85AFF3F}"/>
              </a:ext>
            </a:extLst>
          </p:cNvPr>
          <p:cNvSpPr txBox="1"/>
          <p:nvPr/>
        </p:nvSpPr>
        <p:spPr>
          <a:xfrm>
            <a:off x="4050984" y="2986308"/>
            <a:ext cx="8675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u="sng" dirty="0"/>
              <a:t>Insert time</a:t>
            </a:r>
          </a:p>
          <a:p>
            <a:r>
              <a:rPr lang="en-US" sz="1200" u="sng" dirty="0"/>
              <a:t>Hash diff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AF1062-F1F9-4397-9AE2-86DE19A969E4}"/>
              </a:ext>
            </a:extLst>
          </p:cNvPr>
          <p:cNvSpPr txBox="1"/>
          <p:nvPr/>
        </p:nvSpPr>
        <p:spPr>
          <a:xfrm>
            <a:off x="8805023" y="2918011"/>
            <a:ext cx="8243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u="sng" dirty="0"/>
              <a:t>Valid from</a:t>
            </a:r>
          </a:p>
          <a:p>
            <a:r>
              <a:rPr lang="en-US" sz="1200" u="sng" dirty="0"/>
              <a:t>Valid to</a:t>
            </a:r>
          </a:p>
          <a:p>
            <a:r>
              <a:rPr lang="en-US" sz="1200" u="sng" dirty="0"/>
              <a:t>Is curren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2F7034E-D6F9-4185-85FA-402EBB3175EC}"/>
              </a:ext>
            </a:extLst>
          </p:cNvPr>
          <p:cNvCxnSpPr>
            <a:stCxn id="2" idx="3"/>
            <a:endCxn id="3" idx="1"/>
          </p:cNvCxnSpPr>
          <p:nvPr/>
        </p:nvCxnSpPr>
        <p:spPr>
          <a:xfrm>
            <a:off x="2367435" y="2335306"/>
            <a:ext cx="25900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D834F0E-5899-4151-A359-37E34F09D1EA}"/>
              </a:ext>
            </a:extLst>
          </p:cNvPr>
          <p:cNvCxnSpPr>
            <a:stCxn id="3" idx="3"/>
            <a:endCxn id="4" idx="1"/>
          </p:cNvCxnSpPr>
          <p:nvPr/>
        </p:nvCxnSpPr>
        <p:spPr>
          <a:xfrm>
            <a:off x="6974541" y="2335306"/>
            <a:ext cx="25900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D2E0B804-FF0B-44B0-9458-7FC3F12695B6}"/>
              </a:ext>
            </a:extLst>
          </p:cNvPr>
          <p:cNvSpPr txBox="1"/>
          <p:nvPr/>
        </p:nvSpPr>
        <p:spPr>
          <a:xfrm>
            <a:off x="187871" y="233082"/>
            <a:ext cx="680423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SA(Persistent Staging Area) data flow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6D17166-FCFD-46E7-8057-E9D8170999BD}"/>
              </a:ext>
            </a:extLst>
          </p:cNvPr>
          <p:cNvSpPr txBox="1"/>
          <p:nvPr/>
        </p:nvSpPr>
        <p:spPr>
          <a:xfrm>
            <a:off x="717176" y="5531223"/>
            <a:ext cx="325967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sumptions: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Data load from source is full load.</a:t>
            </a:r>
          </a:p>
          <a:p>
            <a:pPr marL="285750" indent="-285750">
              <a:buFontTx/>
              <a:buChar char="-"/>
            </a:pPr>
            <a:endParaRPr lang="en-US" sz="16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EAC8742-7082-4317-BD53-E95FEBBB6A52}"/>
              </a:ext>
            </a:extLst>
          </p:cNvPr>
          <p:cNvSpPr txBox="1"/>
          <p:nvPr/>
        </p:nvSpPr>
        <p:spPr>
          <a:xfrm>
            <a:off x="1017118" y="1391915"/>
            <a:ext cx="5453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XXX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B3A372C-99E9-47FF-A843-83EF7F9C9E3D}"/>
              </a:ext>
            </a:extLst>
          </p:cNvPr>
          <p:cNvSpPr txBox="1"/>
          <p:nvPr/>
        </p:nvSpPr>
        <p:spPr>
          <a:xfrm>
            <a:off x="5167777" y="1391915"/>
            <a:ext cx="1016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XXX_ST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8261356-9FCE-4ACB-8771-7BBA77C4EC87}"/>
              </a:ext>
            </a:extLst>
          </p:cNvPr>
          <p:cNvSpPr txBox="1"/>
          <p:nvPr/>
        </p:nvSpPr>
        <p:spPr>
          <a:xfrm>
            <a:off x="9564588" y="1383269"/>
            <a:ext cx="14558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USP_XXX_HI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4F1DC07-1F64-435B-BD29-553E0400A701}"/>
              </a:ext>
            </a:extLst>
          </p:cNvPr>
          <p:cNvSpPr/>
          <p:nvPr/>
        </p:nvSpPr>
        <p:spPr>
          <a:xfrm>
            <a:off x="2776849" y="2115671"/>
            <a:ext cx="1626277" cy="452718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USP_XXX_STG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D8ACA69-03F6-4ED8-895E-DDEA6A9EB7F6}"/>
              </a:ext>
            </a:extLst>
          </p:cNvPr>
          <p:cNvSpPr/>
          <p:nvPr/>
        </p:nvSpPr>
        <p:spPr>
          <a:xfrm>
            <a:off x="7456426" y="2115671"/>
            <a:ext cx="1626277" cy="452718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USP_XXX_HI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5FA720-E7F6-487C-8639-3632E6765E72}"/>
              </a:ext>
            </a:extLst>
          </p:cNvPr>
          <p:cNvSpPr/>
          <p:nvPr/>
        </p:nvSpPr>
        <p:spPr>
          <a:xfrm>
            <a:off x="163034" y="4073408"/>
            <a:ext cx="11760025" cy="57997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600" dirty="0"/>
              <a:t>META</a:t>
            </a:r>
          </a:p>
        </p:txBody>
      </p:sp>
    </p:spTree>
    <p:extLst>
      <p:ext uri="{BB962C8B-B14F-4D97-AF65-F5344CB8AC3E}">
        <p14:creationId xmlns:p14="http://schemas.microsoft.com/office/powerpoint/2010/main" val="2679266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FC34693-D55D-4A12-896E-7B2FE2177C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8581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28676AB-707B-459F-89B0-60186F4EA4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62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71C9F0F-1445-4A79-94CF-E0FB03B603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999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A2164F0-AAFF-427A-B9AF-FC4508D03E0D}"/>
              </a:ext>
            </a:extLst>
          </p:cNvPr>
          <p:cNvSpPr txBox="1"/>
          <p:nvPr/>
        </p:nvSpPr>
        <p:spPr>
          <a:xfrm>
            <a:off x="187871" y="233082"/>
            <a:ext cx="436029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A data managem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5D6D41-35A2-42E0-9911-A9325F31DABC}"/>
              </a:ext>
            </a:extLst>
          </p:cNvPr>
          <p:cNvSpPr txBox="1"/>
          <p:nvPr/>
        </p:nvSpPr>
        <p:spPr>
          <a:xfrm>
            <a:off x="636494" y="1425388"/>
            <a:ext cx="8333948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cluding:</a:t>
            </a:r>
          </a:p>
          <a:p>
            <a:pPr marL="285750" indent="-285750">
              <a:buFontTx/>
              <a:buChar char="-"/>
            </a:pPr>
            <a:r>
              <a:rPr lang="en-US" dirty="0"/>
              <a:t>Source table schema.</a:t>
            </a:r>
          </a:p>
          <a:p>
            <a:pPr marL="285750" indent="-285750">
              <a:buFontTx/>
              <a:buChar char="-"/>
            </a:pPr>
            <a:r>
              <a:rPr lang="en-US" dirty="0"/>
              <a:t>BK, business key, used for generate hash key.</a:t>
            </a:r>
          </a:p>
          <a:p>
            <a:pPr marL="285750" indent="-285750">
              <a:buFontTx/>
              <a:buChar char="-"/>
            </a:pPr>
            <a:r>
              <a:rPr lang="en-US" dirty="0"/>
              <a:t>PK, Primary key.</a:t>
            </a:r>
          </a:p>
          <a:p>
            <a:pPr marL="285750" indent="-285750">
              <a:buFontTx/>
              <a:buChar char="-"/>
            </a:pPr>
            <a:r>
              <a:rPr lang="en-US" dirty="0"/>
              <a:t>DI, Descriptive information, used for generate hash diff.</a:t>
            </a:r>
          </a:p>
          <a:p>
            <a:pPr marL="285750" indent="-285750">
              <a:buFontTx/>
              <a:buChar char="-"/>
            </a:pPr>
            <a:r>
              <a:rPr lang="en-US" dirty="0"/>
              <a:t>DVID, data vault reference ID, map to which table in Data Vault model.</a:t>
            </a:r>
          </a:p>
          <a:p>
            <a:pPr marL="742950" lvl="1" indent="-285750">
              <a:buFontTx/>
              <a:buChar char="-"/>
            </a:pPr>
            <a:r>
              <a:rPr lang="en-US" dirty="0"/>
              <a:t>Need a logic to check, about:</a:t>
            </a:r>
          </a:p>
          <a:p>
            <a:pPr marL="1200150" lvl="2" indent="-285750">
              <a:buFontTx/>
              <a:buChar char="-"/>
            </a:pPr>
            <a:r>
              <a:rPr lang="en-US" dirty="0"/>
              <a:t>If </a:t>
            </a:r>
            <a:r>
              <a:rPr lang="en-US" dirty="0" err="1"/>
              <a:t>configed</a:t>
            </a:r>
            <a:r>
              <a:rPr lang="en-US" dirty="0"/>
              <a:t> as SAT table, if BK is included.</a:t>
            </a:r>
          </a:p>
          <a:p>
            <a:pPr marL="1200150" lvl="2" indent="-285750">
              <a:buFontTx/>
              <a:buChar char="-"/>
            </a:pPr>
            <a:r>
              <a:rPr lang="en-US" dirty="0"/>
              <a:t>If </a:t>
            </a:r>
            <a:r>
              <a:rPr lang="en-US" dirty="0" err="1"/>
              <a:t>configed</a:t>
            </a:r>
            <a:r>
              <a:rPr lang="en-US" dirty="0"/>
              <a:t> as HUB table, if BK is included, and should no DI fields </a:t>
            </a:r>
            <a:r>
              <a:rPr lang="en-US" dirty="0" err="1"/>
              <a:t>configed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378029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A6A82-AA78-4AE8-9D74-D20519FFE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3FA246-A3A0-409B-907F-23B2804320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fine HUB and SAT tables with META data approach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1743A8D-4BBF-4B9B-88FB-BC824339A0F1}"/>
              </a:ext>
            </a:extLst>
          </p:cNvPr>
          <p:cNvSpPr txBox="1"/>
          <p:nvPr/>
        </p:nvSpPr>
        <p:spPr>
          <a:xfrm>
            <a:off x="1595922" y="5846544"/>
            <a:ext cx="90001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/>
              <a:t>https://github.com/microsoftbi/PSA-Generator</a:t>
            </a:r>
          </a:p>
        </p:txBody>
      </p:sp>
    </p:spTree>
    <p:extLst>
      <p:ext uri="{BB962C8B-B14F-4D97-AF65-F5344CB8AC3E}">
        <p14:creationId xmlns:p14="http://schemas.microsoft.com/office/powerpoint/2010/main" val="24648237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33</TotalTime>
  <Words>299</Words>
  <Application>Microsoft Office PowerPoint</Application>
  <PresentationFormat>Widescreen</PresentationFormat>
  <Paragraphs>51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Differen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ex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de Song</dc:creator>
  <cp:lastModifiedBy>Wade Song</cp:lastModifiedBy>
  <cp:revision>29</cp:revision>
  <dcterms:created xsi:type="dcterms:W3CDTF">2019-10-27T11:01:50Z</dcterms:created>
  <dcterms:modified xsi:type="dcterms:W3CDTF">2019-11-18T09:14:57Z</dcterms:modified>
</cp:coreProperties>
</file>